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5" d="100"/>
          <a:sy n="65" d="100"/>
        </p:scale>
        <p:origin x="738" y="10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87206A1A-EC9B-747A-C1C7-02F4803BD214}"/>
    <pc:docChg chg="modSld">
      <pc:chgData name="Christodoulou, Konstantinos" userId="S::kchristodoulou@internal.colt.net::81c234c6-6624-4c83-aac0-9aea992cfbe7" providerId="AD" clId="Web-{87206A1A-EC9B-747A-C1C7-02F4803BD214}" dt="2019-02-28T12:30:36.533" v="1"/>
      <pc:docMkLst>
        <pc:docMk/>
      </pc:docMkLst>
      <pc:sldChg chg="modSp">
        <pc:chgData name="Christodoulou, Konstantinos" userId="S::kchristodoulou@internal.colt.net::81c234c6-6624-4c83-aac0-9aea992cfbe7" providerId="AD" clId="Web-{87206A1A-EC9B-747A-C1C7-02F4803BD214}" dt="2019-02-28T12:30:36.533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87206A1A-EC9B-747A-C1C7-02F4803BD214}" dt="2019-02-28T12:30:36.533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BBF7F529-5AC6-971C-F68B-542B195E90EC}"/>
    <pc:docChg chg="modSld">
      <pc:chgData name="Christodoulou, Konstantinos" userId="S::kchristodoulou@internal.colt.net::81c234c6-6624-4c83-aac0-9aea992cfbe7" providerId="AD" clId="Web-{BBF7F529-5AC6-971C-F68B-542B195E90EC}" dt="2018-11-01T11:29:34.758" v="13"/>
      <pc:docMkLst>
        <pc:docMk/>
      </pc:docMkLst>
      <pc:sldChg chg="modSp">
        <pc:chgData name="Christodoulou, Konstantinos" userId="S::kchristodoulou@internal.colt.net::81c234c6-6624-4c83-aac0-9aea992cfbe7" providerId="AD" clId="Web-{BBF7F529-5AC6-971C-F68B-542B195E90EC}" dt="2018-11-01T11:29:34.758" v="1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BBF7F529-5AC6-971C-F68B-542B195E90EC}" dt="2018-11-01T11:29:34.758" v="1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8EAD5FD5-517C-3742-5596-5BE5C8302064}"/>
    <pc:docChg chg="modSld">
      <pc:chgData name="Christodoulou, Konstantinos" userId="S::kchristodoulou@internal.colt.net::81c234c6-6624-4c83-aac0-9aea992cfbe7" providerId="AD" clId="Web-{8EAD5FD5-517C-3742-5596-5BE5C8302064}" dt="2019-02-05T10:05:26.610" v="9"/>
      <pc:docMkLst>
        <pc:docMk/>
      </pc:docMkLst>
      <pc:sldChg chg="modSp">
        <pc:chgData name="Christodoulou, Konstantinos" userId="S::kchristodoulou@internal.colt.net::81c234c6-6624-4c83-aac0-9aea992cfbe7" providerId="AD" clId="Web-{8EAD5FD5-517C-3742-5596-5BE5C8302064}" dt="2019-02-05T10:05:26.610" v="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8EAD5FD5-517C-3742-5596-5BE5C8302064}" dt="2019-02-05T10:05:26.610" v="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CA650FE0-AA93-3E6C-B88D-D84D0A4B1171}"/>
    <pc:docChg chg="modSld">
      <pc:chgData name="Christodoulou, Konstantinos" userId="S::kchristodoulou@internal.colt.net::81c234c6-6624-4c83-aac0-9aea992cfbe7" providerId="AD" clId="Web-{CA650FE0-AA93-3E6C-B88D-D84D0A4B1171}" dt="2018-11-06T12:03:07.551" v="3"/>
      <pc:docMkLst>
        <pc:docMk/>
      </pc:docMkLst>
      <pc:sldChg chg="modSp">
        <pc:chgData name="Christodoulou, Konstantinos" userId="S::kchristodoulou@internal.colt.net::81c234c6-6624-4c83-aac0-9aea992cfbe7" providerId="AD" clId="Web-{CA650FE0-AA93-3E6C-B88D-D84D0A4B1171}" dt="2018-11-06T12:03:07.551" v="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CA650FE0-AA93-3E6C-B88D-D84D0A4B1171}" dt="2018-11-06T12:03:07.551" v="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29C3D33E-C08C-9505-10BF-7A5EBF789763}"/>
    <pc:docChg chg="modSld">
      <pc:chgData name="Christodoulou, Konstantinos" userId="S::kchristodoulou@internal.colt.net::81c234c6-6624-4c83-aac0-9aea992cfbe7" providerId="AD" clId="Web-{29C3D33E-C08C-9505-10BF-7A5EBF789763}" dt="2019-02-05T09:24:20.261" v="71"/>
      <pc:docMkLst>
        <pc:docMk/>
      </pc:docMkLst>
      <pc:sldChg chg="modSp">
        <pc:chgData name="Christodoulou, Konstantinos" userId="S::kchristodoulou@internal.colt.net::81c234c6-6624-4c83-aac0-9aea992cfbe7" providerId="AD" clId="Web-{29C3D33E-C08C-9505-10BF-7A5EBF789763}" dt="2019-02-05T09:24:20.261" v="7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29C3D33E-C08C-9505-10BF-7A5EBF789763}" dt="2019-02-05T09:24:20.261" v="7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NL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Netherland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949247"/>
              </p:ext>
            </p:extLst>
          </p:nvPr>
        </p:nvGraphicFramePr>
        <p:xfrm>
          <a:off x="838312" y="887478"/>
          <a:ext cx="10863790" cy="6041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1hr slots between the times of 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7:00 CET (Mon-Fri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Business Hours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8:00 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endParaRPr lang="en-GB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  <a:br>
                        <a:rPr lang="en-GB" sz="1400" kern="120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o: Letter of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uthorisation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amp; Copy of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 Invoice</a:t>
                      </a:r>
                      <a:endParaRPr lang="en-GB" sz="1400" kern="120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First possible date provided by Surrendering Operator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(SIP Trunking, Voice Line &amp; 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12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 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r>
                        <a:rPr lang="en-GB" sz="1400" b="0" baseline="0" dirty="0">
                          <a:latin typeface="+mn-lt"/>
                          <a:cs typeface="Times New Roman"/>
                        </a:rPr>
                        <a:t> </a:t>
                      </a:r>
                      <a:r>
                        <a:rPr lang="en-GB" sz="1400" b="0" baseline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cs typeface="Times New Roman"/>
                        </a:rPr>
                        <a:t>under customer facing resources</a:t>
                      </a:r>
                      <a:br>
                        <a:rPr lang="en-US" dirty="0"/>
                      </a:br>
                      <a:endParaRPr lang="en-US" dirty="0">
                        <a:ea typeface="Calibr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21399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Before the start of the porting window</a:t>
                      </a:r>
                      <a:r>
                        <a:rPr lang="en-GB" sz="16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NL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colt.net</a:t>
                      </a: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31 8002658999</a:t>
                      </a:r>
                      <a:r>
                        <a:rPr lang="en-GB" sz="14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endParaRPr lang="en-GB" sz="1400" kern="120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695" y="3205155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4008057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807" y="2928930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80</_dlc_DocId>
    <_dlc_DocIdUrl xmlns="85bdb67a-68dc-4b72-be68-a086d460c31f">
      <Url>https://coltinternal.sharepoint.com/sites/pt/PortingInformation/_layouts/15/DocIdRedir.aspx?ID=DHQ4KNS6T2M2-2111369996-80</Url>
      <Description>DHQ4KNS6T2M2-2111369996-80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A99D855-90DA-4EB2-8B54-D21A574E6945}">
  <ds:schemaRefs>
    <ds:schemaRef ds:uri="http://schemas.microsoft.com/office/2006/documentManagement/types"/>
    <ds:schemaRef ds:uri="f1d1c7a4-d8f1-45db-9f4e-e74acd9c8e06"/>
    <ds:schemaRef ds:uri="http://purl.org/dc/dcmitype/"/>
    <ds:schemaRef ds:uri="85bdb67a-68dc-4b72-be68-a086d460c31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DCDAB77-8560-4EB1-829D-1FD1F9E311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66A98E7-AC63-4334-AFE9-322D3A66CD1D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066A541-91E3-4298-B9B2-04F88E2539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</Words>
  <Application>Microsoft Office PowerPoint</Application>
  <PresentationFormat>Widescreen</PresentationFormat>
  <Paragraphs>2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465</cp:revision>
  <dcterms:created xsi:type="dcterms:W3CDTF">2017-08-30T16:21:34Z</dcterms:created>
  <dcterms:modified xsi:type="dcterms:W3CDTF">2019-08-29T08:5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007ba91e-0dda-4968-add7-dfb43545f552</vt:lpwstr>
  </property>
</Properties>
</file>